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6858000" cy="9906000" type="A4"/>
  <p:notesSz cx="6858000" cy="9144000"/>
  <p:custDataLst>
    <p:tags r:id="rId4"/>
  </p:custDataLst>
  <p:defaultTextStyle>
    <a:defPPr>
      <a:defRPr lang="it-IT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12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3000B"/>
    <a:srgbClr val="8C0C1B"/>
    <a:srgbClr val="BD212F"/>
    <a:srgbClr val="126F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5" d="100"/>
          <a:sy n="45" d="100"/>
        </p:scale>
        <p:origin x="2424" y="54"/>
      </p:cViewPr>
      <p:guideLst>
        <p:guide orient="horz" pos="312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URCELLA Daniela" userId="f4d776d1-0fd7-488a-8d22-26b938622ba8" providerId="ADAL" clId="{60BD1499-F02C-4A6E-92E0-725EEB8DB1FE}"/>
    <pc:docChg chg="custSel modSld">
      <pc:chgData name="CURCELLA Daniela" userId="f4d776d1-0fd7-488a-8d22-26b938622ba8" providerId="ADAL" clId="{60BD1499-F02C-4A6E-92E0-725EEB8DB1FE}" dt="2024-02-27T18:41:46.154" v="290" actId="20577"/>
      <pc:docMkLst>
        <pc:docMk/>
      </pc:docMkLst>
      <pc:sldChg chg="delSp modSp mod">
        <pc:chgData name="CURCELLA Daniela" userId="f4d776d1-0fd7-488a-8d22-26b938622ba8" providerId="ADAL" clId="{60BD1499-F02C-4A6E-92E0-725EEB8DB1FE}" dt="2024-02-27T18:41:46.154" v="290" actId="20577"/>
        <pc:sldMkLst>
          <pc:docMk/>
          <pc:sldMk cId="0" sldId="256"/>
        </pc:sldMkLst>
        <pc:spChg chg="del mod">
          <ac:chgData name="CURCELLA Daniela" userId="f4d776d1-0fd7-488a-8d22-26b938622ba8" providerId="ADAL" clId="{60BD1499-F02C-4A6E-92E0-725EEB8DB1FE}" dt="2024-02-27T18:40:08.844" v="220"/>
          <ac:spMkLst>
            <pc:docMk/>
            <pc:sldMk cId="0" sldId="256"/>
            <ac:spMk id="3" creationId="{EA63D485-7043-CE92-50D0-3B52EA738A1C}"/>
          </ac:spMkLst>
        </pc:spChg>
        <pc:spChg chg="del mod">
          <ac:chgData name="CURCELLA Daniela" userId="f4d776d1-0fd7-488a-8d22-26b938622ba8" providerId="ADAL" clId="{60BD1499-F02C-4A6E-92E0-725EEB8DB1FE}" dt="2024-02-27T18:40:08.839" v="218"/>
          <ac:spMkLst>
            <pc:docMk/>
            <pc:sldMk cId="0" sldId="256"/>
            <ac:spMk id="5" creationId="{44D7A10C-1C54-4AD8-6D8C-19E9BD4C092D}"/>
          </ac:spMkLst>
        </pc:spChg>
        <pc:spChg chg="mod">
          <ac:chgData name="CURCELLA Daniela" userId="f4d776d1-0fd7-488a-8d22-26b938622ba8" providerId="ADAL" clId="{60BD1499-F02C-4A6E-92E0-725EEB8DB1FE}" dt="2024-02-27T18:41:46.154" v="290" actId="20577"/>
          <ac:spMkLst>
            <pc:docMk/>
            <pc:sldMk cId="0" sldId="256"/>
            <ac:spMk id="6" creationId="{C72D0780-D32B-E59A-E2F9-CA2E8761C3AD}"/>
          </ac:spMkLst>
        </pc:spChg>
        <pc:spChg chg="mod">
          <ac:chgData name="CURCELLA Daniela" userId="f4d776d1-0fd7-488a-8d22-26b938622ba8" providerId="ADAL" clId="{60BD1499-F02C-4A6E-92E0-725EEB8DB1FE}" dt="2024-02-27T18:41:07.565" v="286" actId="20577"/>
          <ac:spMkLst>
            <pc:docMk/>
            <pc:sldMk cId="0" sldId="256"/>
            <ac:spMk id="3076" creationId="{CE9B5643-2251-2FF6-B5E5-761592FE27A5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67F048-D8F1-4ED2-BB8E-6C8E87697560}" type="datetimeFigureOut">
              <a:rPr lang="it-IT" smtClean="0"/>
              <a:t>27/02/202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2360613" y="1143000"/>
            <a:ext cx="21367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D3700E-5955-48C4-A573-BF703ECC6F5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498041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D3700E-5955-48C4-A573-BF703ECC6F53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54964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.xml"/><Relationship Id="rId7" Type="http://schemas.openxmlformats.org/officeDocument/2006/relationships/image" Target="../media/image2.jp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2" hidden="1">
            <a:extLst>
              <a:ext uri="{FF2B5EF4-FFF2-40B4-BE49-F238E27FC236}">
                <a16:creationId xmlns:a16="http://schemas.microsoft.com/office/drawing/2014/main" id="{AA5F9C51-F7BC-7A3F-B723-EF44E3436A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76324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344" imgH="344" progId="TCLayout.ActiveDocument.1">
                  <p:embed/>
                </p:oleObj>
              </mc:Choice>
              <mc:Fallback>
                <p:oleObj name="Diapositiva think-cell" r:id="rId5" imgW="344" imgH="344" progId="TCLayout.ActiveDocument.1">
                  <p:embed/>
                  <p:pic>
                    <p:nvPicPr>
                      <p:cNvPr id="2" name="Oggetto 2" hidden="1">
                        <a:extLst>
                          <a:ext uri="{FF2B5EF4-FFF2-40B4-BE49-F238E27FC236}">
                            <a16:creationId xmlns:a16="http://schemas.microsoft.com/office/drawing/2014/main" id="{AA5F9C51-F7BC-7A3F-B723-EF44E3436AA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 descr="Immagine che contiene interni, decorato, bambola, parecchi&#10;&#10;Descrizione generata automaticamente">
            <a:extLst>
              <a:ext uri="{FF2B5EF4-FFF2-40B4-BE49-F238E27FC236}">
                <a16:creationId xmlns:a16="http://schemas.microsoft.com/office/drawing/2014/main" id="{F3D8FADA-F554-0E7F-8E9E-F822FF5064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71" r="17497"/>
          <a:stretch/>
        </p:blipFill>
        <p:spPr>
          <a:xfrm>
            <a:off x="-1" y="1"/>
            <a:ext cx="6858001" cy="9401174"/>
          </a:xfrm>
          <a:prstGeom prst="rect">
            <a:avLst/>
          </a:prstGeom>
        </p:spPr>
      </p:pic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id="{574CD12C-245B-B4DF-CC56-BDCF77319E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it-IT" sz="4400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Rettangolo 15" hidden="1">
            <a:extLst>
              <a:ext uri="{FF2B5EF4-FFF2-40B4-BE49-F238E27FC236}">
                <a16:creationId xmlns:a16="http://schemas.microsoft.com/office/drawing/2014/main" id="{48D640D3-4E48-437F-7075-67A794AEA0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it-IT" sz="4400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1" name="Segnaposto data 3">
            <a:extLst>
              <a:ext uri="{FF2B5EF4-FFF2-40B4-BE49-F238E27FC236}">
                <a16:creationId xmlns:a16="http://schemas.microsoft.com/office/drawing/2014/main" id="{65D34968-C13F-339A-80F5-CDA375EBA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39988A-7DA3-404A-ABCD-133A01C5F4C1}" type="datetimeFigureOut">
              <a:rPr lang="it-IT"/>
              <a:pPr>
                <a:defRPr/>
              </a:pPr>
              <a:t>27/02/2024</a:t>
            </a:fld>
            <a:endParaRPr lang="it-IT"/>
          </a:p>
        </p:txBody>
      </p:sp>
      <p:sp>
        <p:nvSpPr>
          <p:cNvPr id="32" name="Segnaposto piè di pagina 4">
            <a:extLst>
              <a:ext uri="{FF2B5EF4-FFF2-40B4-BE49-F238E27FC236}">
                <a16:creationId xmlns:a16="http://schemas.microsoft.com/office/drawing/2014/main" id="{27905C06-CCB9-5DBA-0B79-752F6AFCDB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3" name="Segnaposto numero diapositiva 5">
            <a:extLst>
              <a:ext uri="{FF2B5EF4-FFF2-40B4-BE49-F238E27FC236}">
                <a16:creationId xmlns:a16="http://schemas.microsoft.com/office/drawing/2014/main" id="{0ED33EDB-F9EE-AD25-152B-D19F8C152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285110-473E-4B82-82B9-FB0B37A4B875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  <p:sp>
        <p:nvSpPr>
          <p:cNvPr id="36" name="Rettangolo 35">
            <a:extLst>
              <a:ext uri="{FF2B5EF4-FFF2-40B4-BE49-F238E27FC236}">
                <a16:creationId xmlns:a16="http://schemas.microsoft.com/office/drawing/2014/main" id="{D07525D8-F5E8-900F-DFE7-E1048F10D87D}"/>
              </a:ext>
            </a:extLst>
          </p:cNvPr>
          <p:cNvSpPr/>
          <p:nvPr userDrawn="1"/>
        </p:nvSpPr>
        <p:spPr>
          <a:xfrm>
            <a:off x="0" y="9401175"/>
            <a:ext cx="6858000" cy="504825"/>
          </a:xfrm>
          <a:prstGeom prst="rect">
            <a:avLst/>
          </a:prstGeom>
          <a:solidFill>
            <a:srgbClr val="E3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/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1C2E810E-2D08-71C4-D56B-454DFC5218F4}"/>
              </a:ext>
            </a:extLst>
          </p:cNvPr>
          <p:cNvSpPr/>
          <p:nvPr userDrawn="1"/>
        </p:nvSpPr>
        <p:spPr>
          <a:xfrm>
            <a:off x="0" y="-1"/>
            <a:ext cx="6858000" cy="9401176"/>
          </a:xfrm>
          <a:prstGeom prst="rect">
            <a:avLst/>
          </a:prstGeom>
          <a:gradFill>
            <a:gsLst>
              <a:gs pos="43000">
                <a:schemeClr val="tx1">
                  <a:alpha val="32000"/>
                </a:schemeClr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5578051F-E47F-D06F-0E1A-7058DF97201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8073" y="144862"/>
            <a:ext cx="1722124" cy="704089"/>
          </a:xfrm>
          <a:prstGeom prst="rect">
            <a:avLst/>
          </a:prstGeom>
        </p:spPr>
      </p:pic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414F6271-D734-E971-5CBA-F7754BB4C6C9}"/>
              </a:ext>
            </a:extLst>
          </p:cNvPr>
          <p:cNvCxnSpPr>
            <a:cxnSpLocks/>
          </p:cNvCxnSpPr>
          <p:nvPr userDrawn="1"/>
        </p:nvCxnSpPr>
        <p:spPr>
          <a:xfrm>
            <a:off x="4542853" y="2044228"/>
            <a:ext cx="0" cy="1326525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B00CA4A5-DF4C-F2D9-015E-C986A462FEF4}"/>
              </a:ext>
            </a:extLst>
          </p:cNvPr>
          <p:cNvCxnSpPr>
            <a:cxnSpLocks/>
          </p:cNvCxnSpPr>
          <p:nvPr userDrawn="1"/>
        </p:nvCxnSpPr>
        <p:spPr>
          <a:xfrm>
            <a:off x="6062560" y="2044228"/>
            <a:ext cx="0" cy="1326525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79044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31A51AF1-A7E8-22A9-F1E9-60F0ACA8B0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BCD7E0-35FF-4A4A-950D-CC118C8316C7}" type="datetimeFigureOut">
              <a:rPr lang="it-IT"/>
              <a:pPr>
                <a:defRPr/>
              </a:pPr>
              <a:t>27/02/2024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1FFF27B-4921-F3BE-4B8E-5604D9132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8E82972-9A08-3F48-9F13-8B98E2BF3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1CBFE2-EB1F-4868-9D2D-7DF229384F1C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4309567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4972050" y="396701"/>
            <a:ext cx="1543050" cy="8452202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342900" y="396701"/>
            <a:ext cx="4514850" cy="8452202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1DEF00C7-EDC5-8450-E3E5-1D24D8ABBE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77EE0B-599B-47BF-AE22-FE38E0BC7AA1}" type="datetimeFigureOut">
              <a:rPr lang="it-IT"/>
              <a:pPr>
                <a:defRPr/>
              </a:pPr>
              <a:t>27/02/2024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533B28A-629D-FCBB-D72D-7F3022541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9AC886B-D572-2FFB-86EA-35E119E90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6AD9A6-E94D-4EF2-A3E8-7ACF7B047CE6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3808562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CA1A843-3593-7736-73F8-9C7917E1C4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0F781D-E023-4D9B-91F5-CDFECD41D0DA}" type="datetimeFigureOut">
              <a:rPr lang="it-IT"/>
              <a:pPr>
                <a:defRPr/>
              </a:pPr>
              <a:t>27/02/2024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601B433-1A23-66EE-DB37-2504708A70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EE1A524-17EB-5247-D3C4-616260D01A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E48874-3598-4B08-B62E-02F0CD5DE5B1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553774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41735" y="6365522"/>
            <a:ext cx="5829300" cy="196744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541735" y="4198587"/>
            <a:ext cx="5829300" cy="216693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2E86949-D389-AF12-2611-8A6DE527F0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7D0019-853C-4E83-BA31-AD969D247219}" type="datetimeFigureOut">
              <a:rPr lang="it-IT"/>
              <a:pPr>
                <a:defRPr/>
              </a:pPr>
              <a:t>27/02/2024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E0CA221-2159-5E17-F454-E320A6E97E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E488D66-2741-113B-7D6E-2033F7D86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F1EB8D-ED46-4425-9670-873D626C9FBD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7550519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342900" y="2311402"/>
            <a:ext cx="3028950" cy="653750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3486150" y="2311402"/>
            <a:ext cx="3028950" cy="653750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E180388B-1064-BB33-A837-A22FB46E4C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E122A3-6265-4B39-BEC3-7CEDB55B577B}" type="datetimeFigureOut">
              <a:rPr lang="it-IT"/>
              <a:pPr>
                <a:defRPr/>
              </a:pPr>
              <a:t>27/02/2024</a:t>
            </a:fld>
            <a:endParaRPr lang="it-IT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89028DDD-2218-7F81-C8D7-AC3E36B991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494B1133-0004-AF21-CE91-92231A1CA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6BEFD7-AFE5-4FD8-BF75-92E79C549B48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41275096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342900" y="2217385"/>
            <a:ext cx="3030141" cy="92410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342900" y="3141486"/>
            <a:ext cx="3030141" cy="57074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3483770" y="2217385"/>
            <a:ext cx="3031331" cy="92410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3483770" y="3141486"/>
            <a:ext cx="3031331" cy="57074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850774C0-7913-5924-596D-D728E1620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B28001-B28C-46A2-8B90-0AFE8B555E72}" type="datetimeFigureOut">
              <a:rPr lang="it-IT"/>
              <a:pPr>
                <a:defRPr/>
              </a:pPr>
              <a:t>27/02/2024</a:t>
            </a:fld>
            <a:endParaRPr lang="it-IT"/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3E8457D3-6752-638A-97AF-0634DF3CB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9" name="Segnaposto numero diapositiva 5">
            <a:extLst>
              <a:ext uri="{FF2B5EF4-FFF2-40B4-BE49-F238E27FC236}">
                <a16:creationId xmlns:a16="http://schemas.microsoft.com/office/drawing/2014/main" id="{A280A702-F061-2FEF-5CAB-ADCF7EE99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410069-39DA-4835-BC11-CD0A6EA5EF5B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10752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data 3">
            <a:extLst>
              <a:ext uri="{FF2B5EF4-FFF2-40B4-BE49-F238E27FC236}">
                <a16:creationId xmlns:a16="http://schemas.microsoft.com/office/drawing/2014/main" id="{FBC40D92-E624-7AFD-12FC-FE426445A3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B2DD0A-0CFB-42A0-9164-4EDF13207D4B}" type="datetimeFigureOut">
              <a:rPr lang="it-IT"/>
              <a:pPr>
                <a:defRPr/>
              </a:pPr>
              <a:t>27/02/2024</a:t>
            </a:fld>
            <a:endParaRPr lang="it-IT"/>
          </a:p>
        </p:txBody>
      </p:sp>
      <p:sp>
        <p:nvSpPr>
          <p:cNvPr id="4" name="Segnaposto piè di pagina 4">
            <a:extLst>
              <a:ext uri="{FF2B5EF4-FFF2-40B4-BE49-F238E27FC236}">
                <a16:creationId xmlns:a16="http://schemas.microsoft.com/office/drawing/2014/main" id="{82118E86-7339-D7DA-4215-94404E99C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egnaposto numero diapositiva 5">
            <a:extLst>
              <a:ext uri="{FF2B5EF4-FFF2-40B4-BE49-F238E27FC236}">
                <a16:creationId xmlns:a16="http://schemas.microsoft.com/office/drawing/2014/main" id="{91535B76-B4B6-ECC3-B3EA-FDDFC06CEB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11B208-7D9F-4A82-8942-1A3FA0A13391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006572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FE365C0-FA21-F43E-F29B-F1C555276B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A9B896-1B60-4433-A22C-9BC1423FD643}" type="datetimeFigureOut">
              <a:rPr lang="it-IT"/>
              <a:pPr>
                <a:defRPr/>
              </a:pPr>
              <a:t>27/02/2024</a:t>
            </a:fld>
            <a:endParaRPr lang="it-IT"/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2D7333CF-A4E5-E55E-346A-9B932F91E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Segnaposto numero diapositiva 5">
            <a:extLst>
              <a:ext uri="{FF2B5EF4-FFF2-40B4-BE49-F238E27FC236}">
                <a16:creationId xmlns:a16="http://schemas.microsoft.com/office/drawing/2014/main" id="{B7E040D5-4A23-C0DB-0CFE-ABBB13F13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BEE5C4-2B61-4D97-9C19-0D1D6673636C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2568806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42901" y="394406"/>
            <a:ext cx="2256235" cy="167851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2681288" y="394406"/>
            <a:ext cx="3833813" cy="845449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342901" y="2072923"/>
            <a:ext cx="2256235" cy="677598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B64F1C9A-EE96-1411-BCC3-4515826D29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5C2043-D2C9-444F-BDAF-62F68E21DA4C}" type="datetimeFigureOut">
              <a:rPr lang="it-IT"/>
              <a:pPr>
                <a:defRPr/>
              </a:pPr>
              <a:t>27/02/2024</a:t>
            </a:fld>
            <a:endParaRPr lang="it-IT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30DCED38-BE9F-BF57-D3C2-F7565977F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4B80AEF0-4F1E-FB13-3DA5-F3F5C3C97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B2D326-3767-4B99-BA3A-EF0AD7C2C325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5292938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344216" y="6934201"/>
            <a:ext cx="4114800" cy="81862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344216" y="885119"/>
            <a:ext cx="4114800" cy="59436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344216" y="7752823"/>
            <a:ext cx="4114800" cy="116257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A4AD59CA-82FB-94B8-EE5A-76E41565F7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94B37B-B804-4D3C-BD9C-046CEB509A25}" type="datetimeFigureOut">
              <a:rPr lang="it-IT"/>
              <a:pPr>
                <a:defRPr/>
              </a:pPr>
              <a:t>27/02/2024</a:t>
            </a:fld>
            <a:endParaRPr lang="it-IT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93E02B13-C15B-A3CC-D0E6-C0E5CEF27B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9E27395E-0370-F089-1F35-E77F933C0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689B4-BFD6-4E05-8D30-8F368835EED5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760869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ggetto 2" hidden="1">
            <a:extLst>
              <a:ext uri="{FF2B5EF4-FFF2-40B4-BE49-F238E27FC236}">
                <a16:creationId xmlns:a16="http://schemas.microsoft.com/office/drawing/2014/main" id="{3FE22A98-8F41-1895-108D-1145B76187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5" imgW="344" imgH="344" progId="TCLayout.ActiveDocument.1">
                  <p:embed/>
                </p:oleObj>
              </mc:Choice>
              <mc:Fallback>
                <p:oleObj name="Diapositiva think-cell" r:id="rId15" imgW="344" imgH="344" progId="TCLayout.ActiveDocument.1">
                  <p:embed/>
                  <p:pic>
                    <p:nvPicPr>
                      <p:cNvPr id="1026" name="Oggetto 2" hidden="1">
                        <a:extLst>
                          <a:ext uri="{FF2B5EF4-FFF2-40B4-BE49-F238E27FC236}">
                            <a16:creationId xmlns:a16="http://schemas.microsoft.com/office/drawing/2014/main" id="{3FE22A98-8F41-1895-108D-1145B761875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tangolo 1" hidden="1">
            <a:extLst>
              <a:ext uri="{FF2B5EF4-FFF2-40B4-BE49-F238E27FC236}">
                <a16:creationId xmlns:a16="http://schemas.microsoft.com/office/drawing/2014/main" id="{8A3B227A-E54A-A66E-82AF-D60F23C82DDD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it-IT" sz="4400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28" name="Segnaposto titolo 1">
            <a:extLst>
              <a:ext uri="{FF2B5EF4-FFF2-40B4-BE49-F238E27FC236}">
                <a16:creationId xmlns:a16="http://schemas.microsoft.com/office/drawing/2014/main" id="{ED96CE23-AFE6-7CC6-BD4A-BDC18C7ABEF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42900" y="396875"/>
            <a:ext cx="6172200" cy="165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/>
              <a:t>Fare clic per modificare lo stile del titolo</a:t>
            </a:r>
          </a:p>
        </p:txBody>
      </p:sp>
      <p:sp>
        <p:nvSpPr>
          <p:cNvPr id="1029" name="Segnaposto testo 2">
            <a:extLst>
              <a:ext uri="{FF2B5EF4-FFF2-40B4-BE49-F238E27FC236}">
                <a16:creationId xmlns:a16="http://schemas.microsoft.com/office/drawing/2014/main" id="{2E6F9EB0-405B-3E9E-40EA-644B56D8302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342900" y="2311400"/>
            <a:ext cx="6172200" cy="653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/>
              <a:t>Fare clic per modificare stili del testo dello schema</a:t>
            </a:r>
          </a:p>
          <a:p>
            <a:pPr lvl="1"/>
            <a:r>
              <a:rPr lang="it-IT" altLang="it-IT"/>
              <a:t>Secondo livello</a:t>
            </a:r>
          </a:p>
          <a:p>
            <a:pPr lvl="2"/>
            <a:r>
              <a:rPr lang="it-IT" altLang="it-IT"/>
              <a:t>Terzo livello</a:t>
            </a:r>
          </a:p>
          <a:p>
            <a:pPr lvl="3"/>
            <a:r>
              <a:rPr lang="it-IT" altLang="it-IT"/>
              <a:t>Quarto livello</a:t>
            </a:r>
          </a:p>
          <a:p>
            <a:pPr lvl="4"/>
            <a:r>
              <a:rPr lang="it-IT" alt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504DCD7-24A7-B303-0F9C-BF7BF61104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42900" y="9182100"/>
            <a:ext cx="1600200" cy="527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9AB9248-B9AA-4747-B421-14602CBCCFC8}" type="datetimeFigureOut">
              <a:rPr lang="it-IT"/>
              <a:pPr>
                <a:defRPr/>
              </a:pPr>
              <a:t>27/02/2024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CED5AADC-BBA3-E65C-8973-C441ECE399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43150" y="9182100"/>
            <a:ext cx="2171700" cy="527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A4FDB67-C7AE-D125-2700-53898AB47F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914900" y="9182100"/>
            <a:ext cx="1600200" cy="5270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71869135-7A71-4F37-808F-81D3406843EF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ggetto 3" hidden="1">
            <a:extLst>
              <a:ext uri="{FF2B5EF4-FFF2-40B4-BE49-F238E27FC236}">
                <a16:creationId xmlns:a16="http://schemas.microsoft.com/office/drawing/2014/main" id="{6858F68F-ED09-788D-078D-6A43FD391C9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370060"/>
              </p:ext>
            </p:extLst>
          </p:nvPr>
        </p:nvGraphicFramePr>
        <p:xfrm>
          <a:off x="0" y="0"/>
          <a:ext cx="158750" cy="171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3074" name="Oggetto 3" hidden="1">
                        <a:extLst>
                          <a:ext uri="{FF2B5EF4-FFF2-40B4-BE49-F238E27FC236}">
                            <a16:creationId xmlns:a16="http://schemas.microsoft.com/office/drawing/2014/main" id="{6858F68F-ED09-788D-078D-6A43FD391C98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714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Casella di testo 2">
            <a:extLst>
              <a:ext uri="{FF2B5EF4-FFF2-40B4-BE49-F238E27FC236}">
                <a16:creationId xmlns:a16="http://schemas.microsoft.com/office/drawing/2014/main" id="{CE9B5643-2251-2FF6-B5E5-761592FE27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9401175"/>
            <a:ext cx="6858000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None/>
            </a:pPr>
            <a:r>
              <a:rPr lang="it-IT" altLang="it-IT" sz="1800" b="1" dirty="0">
                <a:solidFill>
                  <a:srgbClr val="FFFFFF"/>
                </a:solidFill>
                <a:latin typeface="Arial"/>
                <a:ea typeface="Calibri"/>
                <a:cs typeface="Arial"/>
              </a:rPr>
              <a:t>       CITTA’ DI MELEGNANO                            26 APRILE 2024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93FEB195-415B-2D97-EF6A-0A766368FA10}"/>
              </a:ext>
            </a:extLst>
          </p:cNvPr>
          <p:cNvSpPr txBox="1"/>
          <p:nvPr/>
        </p:nvSpPr>
        <p:spPr>
          <a:xfrm>
            <a:off x="4431367" y="1152803"/>
            <a:ext cx="1745673" cy="95410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/>
            <a:r>
              <a:rPr lang="en-US" sz="2800" b="1" dirty="0">
                <a:solidFill>
                  <a:schemeClr val="bg1"/>
                </a:solidFill>
                <a:latin typeface="Arial"/>
                <a:cs typeface="Arial"/>
              </a:rPr>
              <a:t>MENU DI PASQUA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C72D0780-D32B-E59A-E2F9-CA2E8761C3AD}"/>
              </a:ext>
            </a:extLst>
          </p:cNvPr>
          <p:cNvSpPr txBox="1"/>
          <p:nvPr/>
        </p:nvSpPr>
        <p:spPr>
          <a:xfrm>
            <a:off x="2672035" y="4134775"/>
            <a:ext cx="4290691" cy="32778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Aft>
                <a:spcPts val="600"/>
              </a:spcAft>
            </a:pPr>
            <a:endParaRPr lang="en-US" dirty="0"/>
          </a:p>
          <a:p>
            <a:pPr algn="ctr">
              <a:spcAft>
                <a:spcPts val="600"/>
              </a:spcAft>
            </a:pPr>
            <a:r>
              <a:rPr lang="en-US" b="1" dirty="0">
                <a:latin typeface="Arial"/>
                <a:cs typeface="Arial"/>
              </a:rPr>
              <a:t>PASTA ALLA MIMOSA</a:t>
            </a:r>
          </a:p>
          <a:p>
            <a:pPr algn="ctr">
              <a:spcAft>
                <a:spcPts val="600"/>
              </a:spcAft>
            </a:pPr>
            <a:r>
              <a:rPr lang="en-US" b="1" dirty="0">
                <a:latin typeface="Arial"/>
                <a:cs typeface="Arial"/>
              </a:rPr>
              <a:t> (</a:t>
            </a:r>
            <a:r>
              <a:rPr lang="en-US" b="1" dirty="0" err="1">
                <a:latin typeface="Arial"/>
                <a:cs typeface="Arial"/>
              </a:rPr>
              <a:t>besciamella</a:t>
            </a:r>
            <a:r>
              <a:rPr lang="en-US" b="1" dirty="0">
                <a:latin typeface="Arial"/>
                <a:cs typeface="Arial"/>
              </a:rPr>
              <a:t> e </a:t>
            </a:r>
            <a:r>
              <a:rPr lang="en-US" b="1" dirty="0" err="1">
                <a:latin typeface="Arial"/>
                <a:cs typeface="Arial"/>
              </a:rPr>
              <a:t>zafferano</a:t>
            </a:r>
            <a:r>
              <a:rPr lang="en-US" b="1" dirty="0">
                <a:latin typeface="Arial"/>
                <a:cs typeface="Arial"/>
              </a:rPr>
              <a:t>)</a:t>
            </a:r>
            <a:endParaRPr lang="en-US" dirty="0"/>
          </a:p>
          <a:p>
            <a:pPr algn="ctr">
              <a:spcAft>
                <a:spcPts val="600"/>
              </a:spcAft>
            </a:pPr>
            <a:r>
              <a:rPr lang="en-US" b="1" dirty="0">
                <a:latin typeface="Arial"/>
                <a:cs typeface="Arial"/>
              </a:rPr>
              <a:t>HAMBURGER DI MANZO</a:t>
            </a:r>
            <a:endParaRPr lang="en-US" dirty="0"/>
          </a:p>
          <a:p>
            <a:pPr algn="ctr">
              <a:spcAft>
                <a:spcPts val="600"/>
              </a:spcAft>
            </a:pPr>
            <a:r>
              <a:rPr lang="en-US" b="1" dirty="0">
                <a:latin typeface="Arial"/>
                <a:cs typeface="Arial"/>
              </a:rPr>
              <a:t>PATATE AL FORNO</a:t>
            </a:r>
          </a:p>
          <a:p>
            <a:pPr algn="ctr">
              <a:spcAft>
                <a:spcPts val="600"/>
              </a:spcAft>
            </a:pPr>
            <a:r>
              <a:rPr lang="en-US" b="1" dirty="0">
                <a:latin typeface="Arial"/>
                <a:cs typeface="Arial"/>
              </a:rPr>
              <a:t>BARRETTA CIOCCOLATO FONDENTE</a:t>
            </a:r>
            <a:endParaRPr lang="en-US" b="1" dirty="0">
              <a:latin typeface="Arial"/>
            </a:endParaRPr>
          </a:p>
          <a:p>
            <a:pPr algn="r">
              <a:spcAft>
                <a:spcPts val="600"/>
              </a:spcAft>
            </a:pPr>
            <a:endParaRPr lang="en-US" dirty="0">
              <a:solidFill>
                <a:schemeClr val="bg1"/>
              </a:solidFill>
            </a:endParaRPr>
          </a:p>
          <a:p>
            <a:pPr algn="r">
              <a:spcAft>
                <a:spcPts val="600"/>
              </a:spcAft>
            </a:pPr>
            <a:endParaRPr lang="en-US" sz="28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psnQ7C9opeUAc0.27Z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psnQ7C9opeUAc0.27Z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v9ggSR9GNb3Si55.5D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Sodexo New 01">
      <a:dk1>
        <a:sysClr val="windowText" lastClr="000000"/>
      </a:dk1>
      <a:lt1>
        <a:sysClr val="window" lastClr="FFFFFF"/>
      </a:lt1>
      <a:dk2>
        <a:srgbClr val="343735"/>
      </a:dk2>
      <a:lt2>
        <a:srgbClr val="EEECE1"/>
      </a:lt2>
      <a:accent1>
        <a:srgbClr val="2A295C"/>
      </a:accent1>
      <a:accent2>
        <a:srgbClr val="EE0000"/>
      </a:accent2>
      <a:accent3>
        <a:srgbClr val="199CDA"/>
      </a:accent3>
      <a:accent4>
        <a:srgbClr val="34A866"/>
      </a:accent4>
      <a:accent5>
        <a:srgbClr val="228085"/>
      </a:accent5>
      <a:accent6>
        <a:srgbClr val="915FC8"/>
      </a:accent6>
      <a:hlink>
        <a:srgbClr val="D3D0C9"/>
      </a:hlink>
      <a:folHlink>
        <a:srgbClr val="34373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0</TotalTime>
  <Words>30</Words>
  <Application>Microsoft Office PowerPoint</Application>
  <PresentationFormat>A4 (21x29,7 cm)</PresentationFormat>
  <Paragraphs>9</Paragraphs>
  <Slides>1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3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</vt:i4>
      </vt:variant>
    </vt:vector>
  </HeadingPairs>
  <TitlesOfParts>
    <vt:vector size="6" baseType="lpstr">
      <vt:lpstr>Aptos</vt:lpstr>
      <vt:lpstr>Arial</vt:lpstr>
      <vt:lpstr>Calibri</vt:lpstr>
      <vt:lpstr>Tema di Office</vt:lpstr>
      <vt:lpstr>Diapositiva think-cell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iscuemn</dc:creator>
  <cp:lastModifiedBy>CURCELLA Daniela</cp:lastModifiedBy>
  <cp:revision>195</cp:revision>
  <dcterms:created xsi:type="dcterms:W3CDTF">2018-09-20T20:12:53Z</dcterms:created>
  <dcterms:modified xsi:type="dcterms:W3CDTF">2024-02-27T18:41:51Z</dcterms:modified>
</cp:coreProperties>
</file>